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5884" r:id="rId5"/>
    <p:sldId id="978" r:id="rId6"/>
    <p:sldId id="5885" r:id="rId7"/>
    <p:sldId id="5887" r:id="rId8"/>
    <p:sldId id="5886" r:id="rId9"/>
    <p:sldId id="847" r:id="rId10"/>
    <p:sldId id="848" r:id="rId11"/>
    <p:sldId id="979" r:id="rId12"/>
    <p:sldId id="853" r:id="rId13"/>
    <p:sldId id="854" r:id="rId14"/>
    <p:sldId id="855" r:id="rId15"/>
    <p:sldId id="856" r:id="rId16"/>
    <p:sldId id="981" r:id="rId17"/>
    <p:sldId id="5870" r:id="rId18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BDB397-D55A-5FB5-21FD-96089267F069}" v="7" dt="2023-01-04T13:13:10.231"/>
    <p1510:client id="{EE69AE78-D663-02AF-2C2B-2EA2ABA57F2A}" v="6" dt="2022-09-22T07:25:52.3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688" y="-21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09/01/2024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455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crowd&#10;&#10;Description generated with high confidence">
            <a:extLst>
              <a:ext uri="{FF2B5EF4-FFF2-40B4-BE49-F238E27FC236}">
                <a16:creationId xmlns:a16="http://schemas.microsoft.com/office/drawing/2014/main" id="{A0379E20-441F-4C5C-9947-CE1D1DE487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64004" y="286476"/>
            <a:ext cx="7705459" cy="64148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2224B9D-90B1-461A-A87C-7913AA547E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80649" y="286477"/>
            <a:ext cx="1508827" cy="817511"/>
          </a:xfrm>
          <a:prstGeom prst="rect">
            <a:avLst/>
          </a:prstGeom>
        </p:spPr>
      </p:pic>
      <p:sp>
        <p:nvSpPr>
          <p:cNvPr id="10" name="Título 1">
            <a:extLst>
              <a:ext uri="{FF2B5EF4-FFF2-40B4-BE49-F238E27FC236}">
                <a16:creationId xmlns:a16="http://schemas.microsoft.com/office/drawing/2014/main" id="{C3260A64-1C56-4515-8DA9-4CAD4DB761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7542" y="414863"/>
            <a:ext cx="3975059" cy="6891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650"/>
              </a:spcAft>
              <a:defRPr sz="151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ro-RO" dirty="0"/>
              <a:t>Lorem ipsum dolor sit amet </a:t>
            </a:r>
            <a:br>
              <a:rPr lang="en-US" dirty="0"/>
            </a:br>
            <a:r>
              <a:rPr lang="ro-RO" dirty="0"/>
              <a:t>consectetur adipiscing elit</a:t>
            </a:r>
            <a:endParaRPr lang="es-ES" dirty="0"/>
          </a:p>
        </p:txBody>
      </p:sp>
      <p:sp>
        <p:nvSpPr>
          <p:cNvPr id="11" name="Subtítulo 2">
            <a:extLst>
              <a:ext uri="{FF2B5EF4-FFF2-40B4-BE49-F238E27FC236}">
                <a16:creationId xmlns:a16="http://schemas.microsoft.com/office/drawing/2014/main" id="{FFBC3E65-1616-45C8-B304-E7835B70AC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7541" y="1103988"/>
            <a:ext cx="4588591" cy="5880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83"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dirty="0"/>
              <a:t>Lorem ipsum dolor sit amet, consectetur adipiscing elit. </a:t>
            </a:r>
            <a:endParaRPr lang="en-US" dirty="0"/>
          </a:p>
          <a:p>
            <a:r>
              <a:rPr lang="ro-RO" dirty="0"/>
              <a:t>Donec vel arcu arcu. Phasellus ultricies</a:t>
            </a:r>
            <a:r>
              <a:rPr lang="en-US" dirty="0"/>
              <a:t>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76163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  <p:sldLayoutId id="2147483654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4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1126920" y="2853907"/>
            <a:ext cx="5373278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200" b="1" dirty="0">
                <a:solidFill>
                  <a:srgbClr val="921824"/>
                </a:solidFill>
                <a:latin typeface="Georgia"/>
              </a:rPr>
              <a:t>Inbound Marketing</a:t>
            </a:r>
            <a:endParaRPr lang="en-US" sz="3200" dirty="0">
              <a:latin typeface="Georgia"/>
            </a:endParaRPr>
          </a:p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and Creating the Plan</a:t>
            </a:r>
            <a:endParaRPr lang="en" sz="3200" b="1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6405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27014" y="1582345"/>
            <a:ext cx="6964363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Budget Plan - S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C10BDF-3D93-B23E-2F44-8BA2DE93B05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" b="1696"/>
          <a:stretch/>
        </p:blipFill>
        <p:spPr>
          <a:xfrm>
            <a:off x="627014" y="2432409"/>
            <a:ext cx="8578276" cy="186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547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3633" y="1141225"/>
            <a:ext cx="6964363" cy="668338"/>
          </a:xfrm>
          <a:prstGeom prst="rect">
            <a:avLst/>
          </a:prstGeom>
        </p:spPr>
        <p:txBody>
          <a:bodyPr/>
          <a:lstStyle/>
          <a:p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Monthly Social Media Calendar - Templ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3D6450-07C8-42D6-AD7B-F2E04B37DE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818" y="1809563"/>
            <a:ext cx="6775486" cy="34317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71888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517650"/>
            <a:ext cx="6964363" cy="668338"/>
          </a:xfrm>
          <a:prstGeom prst="rect">
            <a:avLst/>
          </a:prstGeom>
        </p:spPr>
        <p:txBody>
          <a:bodyPr/>
          <a:lstStyle/>
          <a:p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Monthly Social Media Calendar - Samp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28F494F-1642-450D-B7A0-FE81B11E96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258" y="2249778"/>
            <a:ext cx="8433484" cy="24215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88305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5130" y="1539000"/>
            <a:ext cx="6964363" cy="66833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ommon Mistakes – Learn from These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8CA947-CE22-4884-8B67-F653C6E1B73E}"/>
              </a:ext>
            </a:extLst>
          </p:cNvPr>
          <p:cNvSpPr txBox="1"/>
          <p:nvPr/>
        </p:nvSpPr>
        <p:spPr>
          <a:xfrm>
            <a:off x="736258" y="2441833"/>
            <a:ext cx="29705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Understanding Your Audience’s Expectation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7CB8B5-98C8-47CF-AE11-87968DD01C74}"/>
              </a:ext>
            </a:extLst>
          </p:cNvPr>
          <p:cNvSpPr txBox="1"/>
          <p:nvPr/>
        </p:nvSpPr>
        <p:spPr>
          <a:xfrm>
            <a:off x="3706763" y="2440425"/>
            <a:ext cx="26364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Speaking To Specific Pain Points And Nee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CC7465C-33ED-4F92-B857-46E8D02E9D65}"/>
              </a:ext>
            </a:extLst>
          </p:cNvPr>
          <p:cNvSpPr txBox="1"/>
          <p:nvPr/>
        </p:nvSpPr>
        <p:spPr>
          <a:xfrm>
            <a:off x="6787742" y="2441833"/>
            <a:ext cx="25260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ing On Your Brand And Not Setting Up A Convers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47862F-38E1-41F7-99CE-B846C23D0389}"/>
              </a:ext>
            </a:extLst>
          </p:cNvPr>
          <p:cNvSpPr txBox="1"/>
          <p:nvPr/>
        </p:nvSpPr>
        <p:spPr>
          <a:xfrm>
            <a:off x="736259" y="3269995"/>
            <a:ext cx="22195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ling To Keep Up With Current Trend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0B5D99-91C9-4FD8-B86A-9FDC327D96D0}"/>
              </a:ext>
            </a:extLst>
          </p:cNvPr>
          <p:cNvSpPr txBox="1"/>
          <p:nvPr/>
        </p:nvSpPr>
        <p:spPr>
          <a:xfrm>
            <a:off x="3706763" y="3269995"/>
            <a:ext cx="221956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ing Static Content That Lacks Valu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024F9-4A4C-4311-92DE-6E810962D549}"/>
              </a:ext>
            </a:extLst>
          </p:cNvPr>
          <p:cNvSpPr txBox="1"/>
          <p:nvPr/>
        </p:nvSpPr>
        <p:spPr>
          <a:xfrm>
            <a:off x="6787742" y="3272669"/>
            <a:ext cx="276622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ing On Selling In Every Call To A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3F3B6A-4998-4529-9610-D8B63BFFA00D}"/>
              </a:ext>
            </a:extLst>
          </p:cNvPr>
          <p:cNvSpPr txBox="1"/>
          <p:nvPr/>
        </p:nvSpPr>
        <p:spPr>
          <a:xfrm>
            <a:off x="2032368" y="4098158"/>
            <a:ext cx="58412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 algn="ctr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Being Generous To Your Follower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1683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30621" y="1598010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Inbound Marketing | New Marketing Approach</a:t>
            </a:r>
          </a:p>
        </p:txBody>
      </p:sp>
      <p:pic>
        <p:nvPicPr>
          <p:cNvPr id="2050" name="Picture 2" descr="How to Make Inbound Marketing Work for You - CleverlySG">
            <a:extLst>
              <a:ext uri="{FF2B5EF4-FFF2-40B4-BE49-F238E27FC236}">
                <a16:creationId xmlns:a16="http://schemas.microsoft.com/office/drawing/2014/main" id="{CC6B7AF0-FCFD-4625-B50C-77BFC36FE8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4" t="25710" r="3764" b="6154"/>
          <a:stretch/>
        </p:blipFill>
        <p:spPr bwMode="auto">
          <a:xfrm>
            <a:off x="716437" y="2352522"/>
            <a:ext cx="7891397" cy="24735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308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54624" y="1257824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Understand the Funnel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E030E521-2B78-DB7A-5942-E31C54E62DF9}"/>
              </a:ext>
            </a:extLst>
          </p:cNvPr>
          <p:cNvSpPr txBox="1">
            <a:spLocks/>
          </p:cNvSpPr>
          <p:nvPr/>
        </p:nvSpPr>
        <p:spPr>
          <a:xfrm>
            <a:off x="987126" y="3341410"/>
            <a:ext cx="1661671" cy="533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reness 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BFD40AD-3C01-B845-B353-A7D407F543C9}"/>
              </a:ext>
            </a:extLst>
          </p:cNvPr>
          <p:cNvSpPr txBox="1">
            <a:spLocks/>
          </p:cNvSpPr>
          <p:nvPr/>
        </p:nvSpPr>
        <p:spPr>
          <a:xfrm>
            <a:off x="2967837" y="3341410"/>
            <a:ext cx="1769887" cy="533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tion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25E8FCA-15FE-E2CF-2C13-869C4564CF1E}"/>
              </a:ext>
            </a:extLst>
          </p:cNvPr>
          <p:cNvSpPr txBox="1">
            <a:spLocks/>
          </p:cNvSpPr>
          <p:nvPr/>
        </p:nvSpPr>
        <p:spPr>
          <a:xfrm>
            <a:off x="6762131" y="3341410"/>
            <a:ext cx="1721993" cy="533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sion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C992311-956B-0E71-A2DA-C1436F25B78D}"/>
              </a:ext>
            </a:extLst>
          </p:cNvPr>
          <p:cNvSpPr txBox="1">
            <a:spLocks/>
          </p:cNvSpPr>
          <p:nvPr/>
        </p:nvSpPr>
        <p:spPr>
          <a:xfrm>
            <a:off x="5056764" y="3341410"/>
            <a:ext cx="1386327" cy="533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</a:t>
            </a:r>
          </a:p>
        </p:txBody>
      </p:sp>
    </p:spTree>
    <p:extLst>
      <p:ext uri="{BB962C8B-B14F-4D97-AF65-F5344CB8AC3E}">
        <p14:creationId xmlns:p14="http://schemas.microsoft.com/office/powerpoint/2010/main" val="2654707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54624" y="786484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It all Starts with the SMART Goals</a:t>
            </a:r>
          </a:p>
        </p:txBody>
      </p:sp>
      <p:pic>
        <p:nvPicPr>
          <p:cNvPr id="3" name="Picture 2" descr="SMART PR strategy goals">
            <a:extLst>
              <a:ext uri="{FF2B5EF4-FFF2-40B4-BE49-F238E27FC236}">
                <a16:creationId xmlns:a16="http://schemas.microsoft.com/office/drawing/2014/main" id="{EFFB45EF-5CDA-0D14-24A4-A1075BA5C7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67" t="2886" r="1217" b="9235"/>
          <a:stretch/>
        </p:blipFill>
        <p:spPr bwMode="auto">
          <a:xfrm>
            <a:off x="1054624" y="1673225"/>
            <a:ext cx="6761508" cy="36060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8234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78704" y="1389275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What to Include in the Pla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739746-5290-306F-E84D-0082720D559E}"/>
              </a:ext>
            </a:extLst>
          </p:cNvPr>
          <p:cNvSpPr/>
          <p:nvPr/>
        </p:nvSpPr>
        <p:spPr>
          <a:xfrm>
            <a:off x="534363" y="3713828"/>
            <a:ext cx="661497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hort, medium and long-term business goal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vestment and budget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strategies to achieve the goals at the digital leve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online channels to us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ction and development plan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timing and roadmap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E79B06B-6ADB-379E-08BD-A4F082BC6C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681443"/>
              </p:ext>
            </p:extLst>
          </p:nvPr>
        </p:nvGraphicFramePr>
        <p:xfrm>
          <a:off x="478704" y="2195477"/>
          <a:ext cx="8851610" cy="5996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62384">
                  <a:extLst>
                    <a:ext uri="{9D8B030D-6E8A-4147-A177-3AD203B41FA5}">
                      <a16:colId xmlns:a16="http://schemas.microsoft.com/office/drawing/2014/main" val="1819572910"/>
                    </a:ext>
                  </a:extLst>
                </a:gridCol>
                <a:gridCol w="947338">
                  <a:extLst>
                    <a:ext uri="{9D8B030D-6E8A-4147-A177-3AD203B41FA5}">
                      <a16:colId xmlns:a16="http://schemas.microsoft.com/office/drawing/2014/main" val="4206871277"/>
                    </a:ext>
                  </a:extLst>
                </a:gridCol>
                <a:gridCol w="627111">
                  <a:extLst>
                    <a:ext uri="{9D8B030D-6E8A-4147-A177-3AD203B41FA5}">
                      <a16:colId xmlns:a16="http://schemas.microsoft.com/office/drawing/2014/main" val="1766411331"/>
                    </a:ext>
                  </a:extLst>
                </a:gridCol>
                <a:gridCol w="1865323">
                  <a:extLst>
                    <a:ext uri="{9D8B030D-6E8A-4147-A177-3AD203B41FA5}">
                      <a16:colId xmlns:a16="http://schemas.microsoft.com/office/drawing/2014/main" val="2298937559"/>
                    </a:ext>
                  </a:extLst>
                </a:gridCol>
                <a:gridCol w="640454">
                  <a:extLst>
                    <a:ext uri="{9D8B030D-6E8A-4147-A177-3AD203B41FA5}">
                      <a16:colId xmlns:a16="http://schemas.microsoft.com/office/drawing/2014/main" val="1562387682"/>
                    </a:ext>
                  </a:extLst>
                </a:gridCol>
                <a:gridCol w="1409000">
                  <a:extLst>
                    <a:ext uri="{9D8B030D-6E8A-4147-A177-3AD203B41FA5}">
                      <a16:colId xmlns:a16="http://schemas.microsoft.com/office/drawing/2014/main" val="1534379821"/>
                    </a:ext>
                  </a:extLst>
                </a:gridCol>
              </a:tblGrid>
              <a:tr h="5996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HAT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93" marR="5893" marT="5893" marB="0" anchor="ctr">
                    <a:solidFill>
                      <a:srgbClr val="9029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HY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93" marR="5893" marT="5893" marB="0" anchor="ctr">
                    <a:solidFill>
                      <a:srgbClr val="9029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HE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93" marR="5893" marT="5893" marB="0" anchor="ctr">
                    <a:solidFill>
                      <a:srgbClr val="9029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HO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93" marR="5893" marT="5893" marB="0" anchor="ctr">
                    <a:solidFill>
                      <a:srgbClr val="9029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WHER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93" marR="5893" marT="5893" marB="0" anchor="ctr">
                    <a:solidFill>
                      <a:srgbClr val="90292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W MUCH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893" marR="5893" marT="5893" marB="0" anchor="ctr">
                    <a:solidFill>
                      <a:srgbClr val="9029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155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6E5F79C-351E-BFC5-F81A-BBEDF1E597BC}"/>
              </a:ext>
            </a:extLst>
          </p:cNvPr>
          <p:cNvSpPr/>
          <p:nvPr/>
        </p:nvSpPr>
        <p:spPr>
          <a:xfrm>
            <a:off x="1696333" y="2931360"/>
            <a:ext cx="9903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nt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C0ED92-4361-0774-C786-2B09CC6D0327}"/>
              </a:ext>
            </a:extLst>
          </p:cNvPr>
          <p:cNvSpPr/>
          <p:nvPr/>
        </p:nvSpPr>
        <p:spPr>
          <a:xfrm>
            <a:off x="3786192" y="2931359"/>
            <a:ext cx="9903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urpo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D71B85-63A9-AF9C-1B0C-A98A844C81D0}"/>
              </a:ext>
            </a:extLst>
          </p:cNvPr>
          <p:cNvSpPr/>
          <p:nvPr/>
        </p:nvSpPr>
        <p:spPr>
          <a:xfrm>
            <a:off x="4634349" y="2931358"/>
            <a:ext cx="9903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ime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33C139-241C-93C4-45A0-0F835B2C574D}"/>
              </a:ext>
            </a:extLst>
          </p:cNvPr>
          <p:cNvSpPr/>
          <p:nvPr/>
        </p:nvSpPr>
        <p:spPr>
          <a:xfrm>
            <a:off x="5876051" y="2839024"/>
            <a:ext cx="990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arget Audien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5457FB-941D-6CAD-E22F-2ECEC66D0879}"/>
              </a:ext>
            </a:extLst>
          </p:cNvPr>
          <p:cNvSpPr/>
          <p:nvPr/>
        </p:nvSpPr>
        <p:spPr>
          <a:xfrm>
            <a:off x="7093680" y="2930397"/>
            <a:ext cx="9903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hann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F99366B-310C-D00C-BB1E-AD1F8525DC02}"/>
              </a:ext>
            </a:extLst>
          </p:cNvPr>
          <p:cNvSpPr/>
          <p:nvPr/>
        </p:nvSpPr>
        <p:spPr>
          <a:xfrm>
            <a:off x="8121699" y="2930396"/>
            <a:ext cx="9903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</a:p>
        </p:txBody>
      </p:sp>
    </p:spTree>
    <p:extLst>
      <p:ext uri="{BB962C8B-B14F-4D97-AF65-F5344CB8AC3E}">
        <p14:creationId xmlns:p14="http://schemas.microsoft.com/office/powerpoint/2010/main" val="1054220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6258" y="1416381"/>
            <a:ext cx="7429500" cy="669323"/>
          </a:xfrm>
          <a:prstGeom prst="rect">
            <a:avLst/>
          </a:prstGeom>
        </p:spPr>
        <p:txBody>
          <a:bodyPr/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Set your Business Objectives for Social Medi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AED987-8035-4835-B088-C999B7D33797}"/>
              </a:ext>
            </a:extLst>
          </p:cNvPr>
          <p:cNvSpPr/>
          <p:nvPr/>
        </p:nvSpPr>
        <p:spPr>
          <a:xfrm>
            <a:off x="7005153" y="3257079"/>
            <a:ext cx="97441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</a:t>
            </a:r>
          </a:p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E6A1EE-4128-45E6-8F61-79A08ADC8FBF}"/>
              </a:ext>
            </a:extLst>
          </p:cNvPr>
          <p:cNvSpPr/>
          <p:nvPr/>
        </p:nvSpPr>
        <p:spPr>
          <a:xfrm>
            <a:off x="1547813" y="2328391"/>
            <a:ext cx="1298585" cy="795876"/>
          </a:xfrm>
          <a:prstGeom prst="rect">
            <a:avLst/>
          </a:prstGeom>
          <a:noFill/>
          <a:ln w="38100">
            <a:solidFill>
              <a:srgbClr val="6B6B6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9EFE07-60F6-49A6-BF16-3D4E34965ECC}"/>
              </a:ext>
            </a:extLst>
          </p:cNvPr>
          <p:cNvSpPr/>
          <p:nvPr/>
        </p:nvSpPr>
        <p:spPr>
          <a:xfrm>
            <a:off x="4938393" y="2360642"/>
            <a:ext cx="1500509" cy="795876"/>
          </a:xfrm>
          <a:prstGeom prst="rect">
            <a:avLst/>
          </a:prstGeom>
          <a:noFill/>
          <a:ln w="38100">
            <a:solidFill>
              <a:srgbClr val="6B6B6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B5B73C-4A49-4999-9375-982519F6AF85}"/>
              </a:ext>
            </a:extLst>
          </p:cNvPr>
          <p:cNvSpPr/>
          <p:nvPr/>
        </p:nvSpPr>
        <p:spPr>
          <a:xfrm>
            <a:off x="1571255" y="3701483"/>
            <a:ext cx="1298585" cy="795876"/>
          </a:xfrm>
          <a:prstGeom prst="rect">
            <a:avLst/>
          </a:prstGeom>
          <a:noFill/>
          <a:ln w="38100">
            <a:solidFill>
              <a:srgbClr val="6B6B6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E7B39CC-6A6F-4185-991E-B86E98CE5A30}"/>
              </a:ext>
            </a:extLst>
          </p:cNvPr>
          <p:cNvSpPr/>
          <p:nvPr/>
        </p:nvSpPr>
        <p:spPr>
          <a:xfrm>
            <a:off x="1531500" y="2576288"/>
            <a:ext cx="1383712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 visibility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1819F5-7AA4-4AB2-8E1D-2361620FD661}"/>
              </a:ext>
            </a:extLst>
          </p:cNvPr>
          <p:cNvSpPr/>
          <p:nvPr/>
        </p:nvSpPr>
        <p:spPr>
          <a:xfrm>
            <a:off x="3253728" y="3124268"/>
            <a:ext cx="1377146" cy="795876"/>
          </a:xfrm>
          <a:prstGeom prst="rect">
            <a:avLst/>
          </a:prstGeom>
          <a:noFill/>
          <a:ln w="38100">
            <a:solidFill>
              <a:srgbClr val="6B6B6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DC0AFF-4A70-4EC6-BD56-ACF45044ECF6}"/>
              </a:ext>
            </a:extLst>
          </p:cNvPr>
          <p:cNvSpPr/>
          <p:nvPr/>
        </p:nvSpPr>
        <p:spPr>
          <a:xfrm>
            <a:off x="3245368" y="3372165"/>
            <a:ext cx="1439818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kes/Follow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4AA588B-288D-4A14-85DC-2D82139F60B7}"/>
              </a:ext>
            </a:extLst>
          </p:cNvPr>
          <p:cNvSpPr/>
          <p:nvPr/>
        </p:nvSpPr>
        <p:spPr>
          <a:xfrm>
            <a:off x="5024042" y="2477979"/>
            <a:ext cx="1329211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aging with</a:t>
            </a:r>
          </a:p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FAB3F6-0F4B-4F9E-9975-64E2ECC8561A}"/>
              </a:ext>
            </a:extLst>
          </p:cNvPr>
          <p:cNvSpPr/>
          <p:nvPr/>
        </p:nvSpPr>
        <p:spPr>
          <a:xfrm>
            <a:off x="1686588" y="3841805"/>
            <a:ext cx="1067921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ing</a:t>
            </a:r>
          </a:p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s</a:t>
            </a:r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6A7EF3-CDCB-4783-9C46-945E2E878F56}"/>
              </a:ext>
            </a:extLst>
          </p:cNvPr>
          <p:cNvSpPr/>
          <p:nvPr/>
        </p:nvSpPr>
        <p:spPr>
          <a:xfrm>
            <a:off x="3253729" y="4509855"/>
            <a:ext cx="1377146" cy="795876"/>
          </a:xfrm>
          <a:prstGeom prst="rect">
            <a:avLst/>
          </a:prstGeom>
          <a:noFill/>
          <a:ln w="38100">
            <a:solidFill>
              <a:srgbClr val="6B6B6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9E4BAFE-799D-414B-A1A1-D084A8CC3FAF}"/>
              </a:ext>
            </a:extLst>
          </p:cNvPr>
          <p:cNvSpPr/>
          <p:nvPr/>
        </p:nvSpPr>
        <p:spPr>
          <a:xfrm>
            <a:off x="3253350" y="4650179"/>
            <a:ext cx="140134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cting</a:t>
            </a:r>
          </a:p>
          <a:p>
            <a:pPr algn="ctr"/>
            <a:r>
              <a:rPr lang="en-US" sz="13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customers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9EB552-80C3-48B3-ADC1-3371012C8B84}"/>
              </a:ext>
            </a:extLst>
          </p:cNvPr>
          <p:cNvSpPr/>
          <p:nvPr/>
        </p:nvSpPr>
        <p:spPr>
          <a:xfrm>
            <a:off x="4938392" y="3701483"/>
            <a:ext cx="1500509" cy="795876"/>
          </a:xfrm>
          <a:prstGeom prst="rect">
            <a:avLst/>
          </a:prstGeom>
          <a:noFill/>
          <a:ln w="38100">
            <a:solidFill>
              <a:srgbClr val="90292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9E986D-FB82-4281-ABD4-F1743E2F6DCF}"/>
              </a:ext>
            </a:extLst>
          </p:cNvPr>
          <p:cNvSpPr/>
          <p:nvPr/>
        </p:nvSpPr>
        <p:spPr>
          <a:xfrm>
            <a:off x="4951604" y="3949379"/>
            <a:ext cx="1503938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00" b="1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sa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5C56E81-451C-41E1-9AD7-BA0EC9776178}"/>
              </a:ext>
            </a:extLst>
          </p:cNvPr>
          <p:cNvSpPr/>
          <p:nvPr/>
        </p:nvSpPr>
        <p:spPr>
          <a:xfrm>
            <a:off x="6742105" y="3124268"/>
            <a:ext cx="1500509" cy="795876"/>
          </a:xfrm>
          <a:prstGeom prst="rect">
            <a:avLst/>
          </a:prstGeom>
          <a:noFill/>
          <a:ln w="38100">
            <a:solidFill>
              <a:srgbClr val="6B6B6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</p:spTree>
    <p:extLst>
      <p:ext uri="{BB962C8B-B14F-4D97-AF65-F5344CB8AC3E}">
        <p14:creationId xmlns:p14="http://schemas.microsoft.com/office/powerpoint/2010/main" val="2426225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4573" y="1250330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Social Media Strategy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FC9B6B5-D596-4570-8D0D-2A45B65D9757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34573" y="1912302"/>
            <a:ext cx="5583238" cy="2862262"/>
          </a:xfrm>
          <a:prstGeom prst="rect">
            <a:avLst/>
          </a:prstGeom>
        </p:spPr>
        <p:txBody>
          <a:bodyPr>
            <a:noAutofit/>
          </a:bodyPr>
          <a:lstStyle/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/>
                <a:cs typeface="Arial"/>
              </a:rPr>
              <a:t>Set your </a:t>
            </a:r>
            <a:r>
              <a:rPr lang="en-US" sz="1400" b="1" dirty="0">
                <a:latin typeface="Arial"/>
                <a:cs typeface="Arial"/>
              </a:rPr>
              <a:t>Goals</a:t>
            </a:r>
            <a:r>
              <a:rPr lang="en-US" sz="1400" dirty="0">
                <a:latin typeface="Arial"/>
                <a:cs typeface="Arial"/>
              </a:rPr>
              <a:t>.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/>
                <a:cs typeface="Arial"/>
              </a:rPr>
              <a:t>Select your </a:t>
            </a:r>
            <a:r>
              <a:rPr lang="en-US" sz="1400" b="1" dirty="0">
                <a:latin typeface="Arial"/>
                <a:cs typeface="Arial"/>
              </a:rPr>
              <a:t>Social Media networks </a:t>
            </a:r>
            <a:r>
              <a:rPr lang="en-US" sz="1400" dirty="0">
                <a:latin typeface="Arial"/>
                <a:cs typeface="Arial"/>
              </a:rPr>
              <a:t>and the channels you would like to be present on. 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/>
                <a:cs typeface="Arial"/>
              </a:rPr>
              <a:t>Know your </a:t>
            </a:r>
            <a:r>
              <a:rPr lang="en-US" sz="1400" b="1" dirty="0">
                <a:latin typeface="Arial"/>
                <a:cs typeface="Arial"/>
              </a:rPr>
              <a:t>audience</a:t>
            </a:r>
            <a:r>
              <a:rPr lang="en-US" sz="1400" dirty="0">
                <a:latin typeface="Arial"/>
                <a:cs typeface="Arial"/>
              </a:rPr>
              <a:t> - Social Media Monitoring.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/>
                <a:cs typeface="Arial"/>
              </a:rPr>
              <a:t>Create professional and </a:t>
            </a:r>
            <a:r>
              <a:rPr lang="en-US" sz="1400" b="1" dirty="0">
                <a:latin typeface="Arial"/>
                <a:cs typeface="Arial"/>
              </a:rPr>
              <a:t>valuable content</a:t>
            </a:r>
            <a:r>
              <a:rPr lang="en-US" sz="1400" dirty="0">
                <a:latin typeface="Arial"/>
                <a:cs typeface="Arial"/>
              </a:rPr>
              <a:t>.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b="1" dirty="0">
                <a:latin typeface="Arial"/>
                <a:cs typeface="Arial"/>
              </a:rPr>
              <a:t>Posting Strategy </a:t>
            </a:r>
            <a:r>
              <a:rPr lang="en-US" sz="1400" dirty="0">
                <a:latin typeface="Arial"/>
                <a:cs typeface="Arial"/>
              </a:rPr>
              <a:t>- Great content, perfect timings and ideal frequency.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b="1" dirty="0">
                <a:latin typeface="Arial"/>
                <a:cs typeface="Arial"/>
              </a:rPr>
              <a:t>Promote</a:t>
            </a:r>
            <a:r>
              <a:rPr lang="en-US" sz="1400" dirty="0">
                <a:latin typeface="Arial"/>
                <a:cs typeface="Arial"/>
              </a:rPr>
              <a:t> your content to the right target audience. 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b="1" dirty="0">
                <a:latin typeface="Arial"/>
                <a:cs typeface="Arial"/>
              </a:rPr>
              <a:t>Engage</a:t>
            </a:r>
            <a:r>
              <a:rPr lang="en-US" sz="1400" dirty="0">
                <a:latin typeface="Arial"/>
                <a:cs typeface="Arial"/>
              </a:rPr>
              <a:t> the audience.</a:t>
            </a:r>
          </a:p>
          <a:p>
            <a:pPr marL="371464" indent="-371464">
              <a:buFont typeface="+mj-lt"/>
              <a:buAutoNum type="arabicPeriod"/>
            </a:pPr>
            <a:r>
              <a:rPr lang="en-US" sz="1400" b="1" dirty="0">
                <a:latin typeface="Arial"/>
                <a:cs typeface="Arial"/>
              </a:rPr>
              <a:t>Measure Results </a:t>
            </a:r>
            <a:r>
              <a:rPr lang="en-US" sz="1400" dirty="0">
                <a:latin typeface="Arial"/>
                <a:cs typeface="Arial"/>
              </a:rPr>
              <a:t>- Analyze the campaigns’ performance and take a decision accordingly. </a:t>
            </a:r>
          </a:p>
        </p:txBody>
      </p:sp>
    </p:spTree>
    <p:extLst>
      <p:ext uri="{BB962C8B-B14F-4D97-AF65-F5344CB8AC3E}">
        <p14:creationId xmlns:p14="http://schemas.microsoft.com/office/powerpoint/2010/main" val="2480552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803B13-1743-482F-9A9E-C9C6C6944799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854519" y="2870200"/>
            <a:ext cx="3975100" cy="558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28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Writing the Plan</a:t>
            </a:r>
          </a:p>
        </p:txBody>
      </p:sp>
    </p:spTree>
    <p:extLst>
      <p:ext uri="{BB962C8B-B14F-4D97-AF65-F5344CB8AC3E}">
        <p14:creationId xmlns:p14="http://schemas.microsoft.com/office/powerpoint/2010/main" val="465785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7052" y="1489370"/>
            <a:ext cx="6964363" cy="66833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Budget Plan - Templ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E20CD3-3E25-44A7-B1B2-E3A66D0154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258" y="2268580"/>
            <a:ext cx="7964485" cy="3010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82550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/>
        <AccountId xsi:nil="true"/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Props1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84C677-59A1-40C1-BF7B-4B6A2500FD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269</Words>
  <Application>Microsoft Office PowerPoint</Application>
  <PresentationFormat>A4 Paper (210x297 mm)</PresentationFormat>
  <Paragraphs>64</Paragraphs>
  <Slides>1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Tema de Office</vt:lpstr>
      <vt:lpstr>PowerPoint Presentation</vt:lpstr>
      <vt:lpstr>Inbound Marketing | New Marketing Approach</vt:lpstr>
      <vt:lpstr>Understand the Funnel</vt:lpstr>
      <vt:lpstr>It all Starts with the SMART Goals</vt:lpstr>
      <vt:lpstr>What to Include in the Plan</vt:lpstr>
      <vt:lpstr>Set your Business Objectives for Social Media</vt:lpstr>
      <vt:lpstr>Social Media Strategy</vt:lpstr>
      <vt:lpstr>Writing the Plan</vt:lpstr>
      <vt:lpstr>Budget Plan - Template</vt:lpstr>
      <vt:lpstr>Budget Plan - Sample</vt:lpstr>
      <vt:lpstr>Monthly Social Media Calendar - Template</vt:lpstr>
      <vt:lpstr>Monthly Social Media Calendar - Sample</vt:lpstr>
      <vt:lpstr>Common Mistakes – Learn from These!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Charlene Naidoo</cp:lastModifiedBy>
  <cp:revision>24</cp:revision>
  <dcterms:created xsi:type="dcterms:W3CDTF">2016-07-11T04:31:49Z</dcterms:created>
  <dcterms:modified xsi:type="dcterms:W3CDTF">2024-01-09T15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  <property fmtid="{D5CDD505-2E9C-101B-9397-08002B2CF9AE}" pid="8" name="MediaServiceImageTags">
    <vt:lpwstr/>
  </property>
</Properties>
</file>